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73" r:id="rId4"/>
  </p:sldMasterIdLst>
  <p:notesMasterIdLst>
    <p:notesMasterId r:id="rId20"/>
  </p:notesMasterIdLst>
  <p:handoutMasterIdLst>
    <p:handoutMasterId r:id="rId21"/>
  </p:handoutMasterIdLst>
  <p:sldIdLst>
    <p:sldId id="256" r:id="rId5"/>
    <p:sldId id="308" r:id="rId6"/>
    <p:sldId id="330" r:id="rId7"/>
    <p:sldId id="334" r:id="rId8"/>
    <p:sldId id="320" r:id="rId9"/>
    <p:sldId id="321" r:id="rId10"/>
    <p:sldId id="325" r:id="rId11"/>
    <p:sldId id="326" r:id="rId12"/>
    <p:sldId id="331" r:id="rId13"/>
    <p:sldId id="324" r:id="rId14"/>
    <p:sldId id="332" r:id="rId15"/>
    <p:sldId id="323" r:id="rId16"/>
    <p:sldId id="329" r:id="rId17"/>
    <p:sldId id="333" r:id="rId18"/>
    <p:sldId id="327" r:id="rId19"/>
  </p:sldIdLst>
  <p:sldSz cx="12192000" cy="6858000"/>
  <p:notesSz cx="6797675" cy="9926638"/>
  <p:embeddedFontLst>
    <p:embeddedFont>
      <p:font typeface="NBS Medium" panose="020B0603030303020204" pitchFamily="34" charset="0"/>
      <p:regular r:id="rId22"/>
      <p:bold r:id="rId23"/>
      <p:italic r:id="rId24"/>
      <p:boldItalic r:id="rId25"/>
    </p:embeddedFont>
    <p:embeddedFont>
      <p:font typeface="Calibri" panose="020F0502020204030204" pitchFamily="34" charset="0"/>
      <p:regular r:id="rId26"/>
      <p:bold r:id="rId27"/>
      <p:italic r:id="rId28"/>
      <p:boldItalic r:id="rId29"/>
    </p:embeddedFont>
    <p:embeddedFont>
      <p:font typeface="NBS Light" panose="020B0303030303020204" pitchFamily="34" charset="0"/>
      <p:regular r:id="rId30"/>
      <p:italic r:id="rId31"/>
    </p:embeddedFont>
    <p:embeddedFont>
      <p:font typeface="Consolas" panose="020B0609020204030204" pitchFamily="49" charset="0"/>
      <p:regular r:id="rId32"/>
      <p:bold r:id="rId33"/>
      <p:italic r:id="rId34"/>
      <p:boldItalic r:id="rId35"/>
    </p:embeddedFont>
    <p:embeddedFont>
      <p:font typeface="MS PGothic" panose="020B0600070205080204" pitchFamily="34" charset="-128"/>
      <p:regular r:id="rId36"/>
    </p:embeddedFont>
  </p:embeddedFontLst>
  <p:custDataLst>
    <p:tags r:id="rId3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93" userDrawn="1">
          <p15:clr>
            <a:srgbClr val="A4A3A4"/>
          </p15:clr>
        </p15:guide>
        <p15:guide id="3" pos="3795" userDrawn="1">
          <p15:clr>
            <a:srgbClr val="A4A3A4"/>
          </p15:clr>
        </p15:guide>
        <p15:guide id="4" pos="3976" userDrawn="1">
          <p15:clr>
            <a:srgbClr val="A4A3A4"/>
          </p15:clr>
        </p15:guide>
        <p15:guide id="5" pos="3659" userDrawn="1">
          <p15:clr>
            <a:srgbClr val="A4A3A4"/>
          </p15:clr>
        </p15:guide>
        <p15:guide id="6" pos="5337" userDrawn="1">
          <p15:clr>
            <a:srgbClr val="A4A3A4"/>
          </p15:clr>
        </p15:guide>
        <p15:guide id="7" orient="horz" pos="1797" userDrawn="1">
          <p15:clr>
            <a:srgbClr val="A4A3A4"/>
          </p15:clr>
        </p15:guide>
        <p15:guide id="8" pos="107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olly Armitage" initials="HA" lastIdx="4" clrIdx="0">
    <p:extLst>
      <p:ext uri="{19B8F6BF-5375-455C-9EA6-DF929625EA0E}">
        <p15:presenceInfo xmlns:p15="http://schemas.microsoft.com/office/powerpoint/2012/main" userId="S-1-5-21-1202660629-796845957-725345543-469077" providerId="AD"/>
      </p:ext>
    </p:extLst>
  </p:cmAuthor>
  <p:cmAuthor id="2" name="Snelgrove, Thomas" initials="ST" lastIdx="47" clrIdx="1">
    <p:extLst>
      <p:ext uri="{19B8F6BF-5375-455C-9EA6-DF929625EA0E}">
        <p15:presenceInfo xmlns:p15="http://schemas.microsoft.com/office/powerpoint/2012/main" userId="S-1-5-21-329068152-1454471165-1417001333-175704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3198D2"/>
    <a:srgbClr val="007FC7"/>
    <a:srgbClr val="2E90D0"/>
    <a:srgbClr val="82AEDB"/>
    <a:srgbClr val="B9CEE8"/>
    <a:srgbClr val="E7E9EE"/>
    <a:srgbClr val="6CC2ED"/>
    <a:srgbClr val="ED1C24"/>
    <a:srgbClr val="0040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802" autoAdjust="0"/>
    <p:restoredTop sz="79141" autoAdjust="0"/>
  </p:normalViewPr>
  <p:slideViewPr>
    <p:cSldViewPr snapToObjects="1" showGuides="1">
      <p:cViewPr varScale="1">
        <p:scale>
          <a:sx n="54" d="100"/>
          <a:sy n="54" d="100"/>
        </p:scale>
        <p:origin x="858" y="60"/>
      </p:cViewPr>
      <p:guideLst>
        <p:guide orient="horz" pos="3793"/>
        <p:guide pos="3795"/>
        <p:guide pos="3976"/>
        <p:guide pos="3659"/>
        <p:guide pos="5337"/>
        <p:guide orient="horz" pos="1797"/>
        <p:guide pos="107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-13650"/>
    </p:cViewPr>
  </p:sorterViewPr>
  <p:notesViewPr>
    <p:cSldViewPr snapToObjects="1" showGuides="1">
      <p:cViewPr varScale="1">
        <p:scale>
          <a:sx n="73" d="100"/>
          <a:sy n="73" d="100"/>
        </p:scale>
        <p:origin x="2148" y="5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5.fntdata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34" Type="http://schemas.openxmlformats.org/officeDocument/2006/relationships/font" Target="fonts/font13.fntdata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8.fntdata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font" Target="fonts/font15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10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font" Target="fonts/font14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E2A3B7-4915-DA4C-9518-AAF6854A035F}" type="datetimeFigureOut">
              <a:rPr lang="en-US" smtClean="0"/>
              <a:t>5/3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Version Strategy for RES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B10C75-F68F-2A4E-8AE6-1B2AE606030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80130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CA03A3-9965-404D-9EFE-025A1E66B5D9}" type="datetimeFigureOut">
              <a:rPr lang="en-US" smtClean="0"/>
              <a:t>5/3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Version Strategy for RES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ACFC91-37B6-044F-AAFC-3573381693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40367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mynationwideteam/sites/nbs_eprise_mware_dc/standards/Lists/Polices/DispForm.aspx?ID=7&amp;Source=http://mynationwideteam/sites/nbs_eprise_mware_dc/standards/Lists/Polices/AllItems.aspx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idea here is to create as strategy an policy for REST versioning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8348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perty that can be used to simplify versioning, allowing new properties to be included in objec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45697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dditional properties may be true, false or define a constraint or typ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31933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KISS – If it is simpler to decide, implement or use.</a:t>
            </a:r>
          </a:p>
          <a:p>
            <a:r>
              <a:rPr lang="en-GB" dirty="0"/>
              <a:t>Major Version – Amount of major versions will be created.</a:t>
            </a:r>
          </a:p>
          <a:p>
            <a:r>
              <a:rPr lang="en-GB" dirty="0"/>
              <a:t>Complexity on Using – From the client point of view, no hidden info.</a:t>
            </a:r>
          </a:p>
          <a:p>
            <a:r>
              <a:rPr lang="en-GB" dirty="0"/>
              <a:t>Security Concerns – From security point of view, no minor version rises security concerns</a:t>
            </a:r>
          </a:p>
          <a:p>
            <a:r>
              <a:rPr lang="en-GB" dirty="0"/>
              <a:t>Governing – More control over the servic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13823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899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in principle that should drive ones choices and decisions.</a:t>
            </a:r>
          </a:p>
          <a:p>
            <a:r>
              <a:rPr lang="en-GB" dirty="0"/>
              <a:t>Simplicity leads to faster and cheaper execution of tasks, with less errors and rework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1953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Versioning Policy</a:t>
            </a:r>
            <a:endParaRPr lang="en-GB" sz="1200" u="sng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re is no policy or strategy for RE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gistry – CentraSi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urce Control – RTC or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ployment – Manual / Automatic (CD)</a:t>
            </a:r>
            <a:endParaRPr lang="en-GB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27751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ndatory for new major version</a:t>
            </a:r>
          </a:p>
          <a:p>
            <a:r>
              <a:rPr lang="en-GB" dirty="0"/>
              <a:t>New basePath implies a new version or a new service by definition.</a:t>
            </a:r>
          </a:p>
          <a:p>
            <a:r>
              <a:rPr lang="en-GB" dirty="0"/>
              <a:t>Depending on the changes on “path” and other properties, the major version may or may not change. See next slid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6316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Mandatory for new major version</a:t>
            </a:r>
          </a:p>
          <a:p>
            <a:r>
              <a:rPr lang="en-GB" dirty="0"/>
              <a:t>If any of these properties are changed, the major version must be changed.</a:t>
            </a:r>
          </a:p>
          <a:p>
            <a:r>
              <a:rPr lang="en-GB" dirty="0"/>
              <a:t>These properties should not change, tough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62528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Mandatory for new major version</a:t>
            </a:r>
          </a:p>
          <a:p>
            <a:r>
              <a:rPr lang="en-GB" dirty="0"/>
              <a:t>Any of the changes here forces a major version because of the backward incompatibilit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93066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May be mandatory for new major versio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ny of the changes on these properties probably forces a major version due to backward incompatibility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58535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hen a new major version should be creat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6189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KISS – If it is simpler to decide, implement or use.</a:t>
            </a:r>
          </a:p>
          <a:p>
            <a:r>
              <a:rPr lang="en-GB" dirty="0"/>
              <a:t>Major Version – Amount of major versions will be created.</a:t>
            </a:r>
          </a:p>
          <a:p>
            <a:r>
              <a:rPr lang="en-GB" dirty="0"/>
              <a:t>Complexity on Using – From the client point of view, no hidden info.</a:t>
            </a:r>
          </a:p>
          <a:p>
            <a:r>
              <a:rPr lang="en-GB" dirty="0"/>
              <a:t>Security Concerns – From security point of view, no minor version rises security concerns</a:t>
            </a:r>
          </a:p>
          <a:p>
            <a:r>
              <a:rPr lang="en-GB" dirty="0"/>
              <a:t>Governing – More control over the servic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2324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BS Blu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570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2" name="Rounded Rectangle 11"/>
          <p:cNvSpPr/>
          <p:nvPr userDrawn="1"/>
        </p:nvSpPr>
        <p:spPr bwMode="auto">
          <a:xfrm>
            <a:off x="496598" y="3632201"/>
            <a:ext cx="7885404" cy="2872590"/>
          </a:xfrm>
          <a:prstGeom prst="roundRect">
            <a:avLst>
              <a:gd name="adj" fmla="val 2370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/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850198" y="4086333"/>
            <a:ext cx="6600473" cy="1261966"/>
          </a:xfrm>
        </p:spPr>
        <p:txBody>
          <a:bodyPr lIns="0" tIns="0" rIns="0" bIns="0" anchor="t">
            <a:noAutofit/>
          </a:bodyPr>
          <a:lstStyle/>
          <a:p>
            <a:pPr algn="l">
              <a:lnSpc>
                <a:spcPct val="80000"/>
              </a:lnSpc>
              <a:defRPr/>
            </a:pPr>
            <a: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  <a:t>PowerPoint template</a:t>
            </a:r>
            <a:b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</a:br>
            <a: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  <a:t>for internal us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867131" y="5280563"/>
            <a:ext cx="6583540" cy="726264"/>
          </a:xfrm>
        </p:spPr>
        <p:txBody>
          <a:bodyPr lIns="0" tIns="0" rIns="0" bIns="0" anchor="t" anchorCtr="0">
            <a:normAutofit/>
          </a:bodyPr>
          <a:lstStyle/>
          <a:p>
            <a:pPr algn="l">
              <a:lnSpc>
                <a:spcPct val="80000"/>
              </a:lnSpc>
              <a:buFont typeface="Arial" panose="020B0604020202020204" pitchFamily="34" charset="0"/>
              <a:buNone/>
              <a:defRPr/>
            </a:pPr>
            <a:r>
              <a:rPr lang="en-GB" altLang="en-US" sz="1600" dirty="0">
                <a:solidFill>
                  <a:schemeClr val="tx1"/>
                </a:solidFill>
                <a:latin typeface="NBS Light"/>
                <a:ea typeface="ＭＳ Ｐゴシック" panose="020B0600070205080204" pitchFamily="34" charset="-128"/>
                <a:cs typeface="NBS Light"/>
              </a:rPr>
              <a:t>Notes for guidance on template use</a:t>
            </a:r>
          </a:p>
        </p:txBody>
      </p:sp>
      <p:pic>
        <p:nvPicPr>
          <p:cNvPr id="18" name="Picture 17" descr="Nationwide BS Logo sRGB.pn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8" t="18020" r="9268" b="14259"/>
          <a:stretch/>
        </p:blipFill>
        <p:spPr>
          <a:xfrm>
            <a:off x="977460" y="3335388"/>
            <a:ext cx="1482725" cy="607295"/>
          </a:xfrm>
          <a:prstGeom prst="rect">
            <a:avLst/>
          </a:prstGeom>
        </p:spPr>
      </p:pic>
      <p:sp>
        <p:nvSpPr>
          <p:cNvPr id="17" name="Rounded Rectangle 16"/>
          <p:cNvSpPr/>
          <p:nvPr/>
        </p:nvSpPr>
        <p:spPr>
          <a:xfrm>
            <a:off x="935488" y="3340797"/>
            <a:ext cx="1563222" cy="409449"/>
          </a:xfrm>
          <a:prstGeom prst="roundRect">
            <a:avLst>
              <a:gd name="adj" fmla="val 13275"/>
            </a:avLst>
          </a:prstGeom>
          <a:noFill/>
          <a:ln w="6350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469171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BS Front Cover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594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>
          <a:xfrm>
            <a:off x="-24192" y="0"/>
            <a:ext cx="12216191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-18145" y="-2"/>
            <a:ext cx="12210145" cy="6858001"/>
            <a:chOff x="-18145" y="-2"/>
            <a:chExt cx="12210145" cy="6858001"/>
          </a:xfrm>
        </p:grpSpPr>
        <p:pic>
          <p:nvPicPr>
            <p:cNvPr id="19" name="Picture 18" descr="Village-wallpaper.png"/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1" t="2540" r="3960" b="29160"/>
            <a:stretch/>
          </p:blipFill>
          <p:spPr>
            <a:xfrm>
              <a:off x="-18145" y="-2"/>
              <a:ext cx="9162143" cy="6858001"/>
            </a:xfrm>
            <a:prstGeom prst="rect">
              <a:avLst/>
            </a:prstGeom>
          </p:spPr>
        </p:pic>
        <p:pic>
          <p:nvPicPr>
            <p:cNvPr id="20" name="Picture 19" descr="Village-wallpaper.png"/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487" t="2540" r="59285" b="29160"/>
            <a:stretch/>
          </p:blipFill>
          <p:spPr>
            <a:xfrm>
              <a:off x="8956040" y="-2"/>
              <a:ext cx="3235960" cy="6858001"/>
            </a:xfrm>
            <a:prstGeom prst="rect">
              <a:avLst/>
            </a:prstGeom>
          </p:spPr>
        </p:pic>
      </p:grpSp>
      <p:sp>
        <p:nvSpPr>
          <p:cNvPr id="14" name="Rectangle 13"/>
          <p:cNvSpPr/>
          <p:nvPr userDrawn="1"/>
        </p:nvSpPr>
        <p:spPr>
          <a:xfrm>
            <a:off x="748591" y="3457266"/>
            <a:ext cx="2841277" cy="349875"/>
          </a:xfrm>
          <a:prstGeom prst="rect">
            <a:avLst/>
          </a:prstGeom>
          <a:solidFill>
            <a:srgbClr val="0077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5" name="Rounded Rectangle 14"/>
          <p:cNvSpPr/>
          <p:nvPr userDrawn="1"/>
        </p:nvSpPr>
        <p:spPr bwMode="auto">
          <a:xfrm>
            <a:off x="496598" y="3632201"/>
            <a:ext cx="7885404" cy="2872590"/>
          </a:xfrm>
          <a:prstGeom prst="roundRect">
            <a:avLst>
              <a:gd name="adj" fmla="val 2370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/>
          </a:p>
        </p:txBody>
      </p:sp>
      <p:sp>
        <p:nvSpPr>
          <p:cNvPr id="16" name="Title 1"/>
          <p:cNvSpPr>
            <a:spLocks noGrp="1"/>
          </p:cNvSpPr>
          <p:nvPr>
            <p:ph type="ctrTitle" idx="4294967295"/>
          </p:nvPr>
        </p:nvSpPr>
        <p:spPr>
          <a:xfrm>
            <a:off x="850198" y="4086333"/>
            <a:ext cx="6600473" cy="1261966"/>
          </a:xfrm>
        </p:spPr>
        <p:txBody>
          <a:bodyPr lIns="0" tIns="0" rIns="0" bIns="0" anchor="t">
            <a:noAutofit/>
          </a:bodyPr>
          <a:lstStyle/>
          <a:p>
            <a:pPr algn="l">
              <a:lnSpc>
                <a:spcPct val="80000"/>
              </a:lnSpc>
              <a:defRPr/>
            </a:pPr>
            <a: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  <a:t>PowerPoint template</a:t>
            </a:r>
            <a:b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</a:br>
            <a: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  <a:t>for internal us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4294967295"/>
          </p:nvPr>
        </p:nvSpPr>
        <p:spPr>
          <a:xfrm>
            <a:off x="867131" y="5280563"/>
            <a:ext cx="6583540" cy="726264"/>
          </a:xfrm>
        </p:spPr>
        <p:txBody>
          <a:bodyPr lIns="0" tIns="0" rIns="0" bIns="0" anchor="t" anchorCtr="0">
            <a:normAutofit/>
          </a:bodyPr>
          <a:lstStyle/>
          <a:p>
            <a:pPr algn="l">
              <a:lnSpc>
                <a:spcPct val="80000"/>
              </a:lnSpc>
              <a:buFont typeface="Arial" panose="020B0604020202020204" pitchFamily="34" charset="0"/>
              <a:buNone/>
              <a:defRPr/>
            </a:pPr>
            <a:r>
              <a:rPr lang="en-GB" altLang="en-US" sz="1600" dirty="0">
                <a:solidFill>
                  <a:schemeClr val="tx1"/>
                </a:solidFill>
                <a:latin typeface="NBS Light"/>
                <a:ea typeface="ＭＳ Ｐゴシック" panose="020B0600070205080204" pitchFamily="34" charset="-128"/>
                <a:cs typeface="NBS Light"/>
              </a:rPr>
              <a:t>Notes for guidance on template use</a:t>
            </a:r>
          </a:p>
        </p:txBody>
      </p:sp>
      <p:pic>
        <p:nvPicPr>
          <p:cNvPr id="11" name="Picture 10" descr="Nationwide BS Logo sRGB.png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8" t="18020" r="9268" b="14259"/>
          <a:stretch/>
        </p:blipFill>
        <p:spPr>
          <a:xfrm>
            <a:off x="977460" y="3335388"/>
            <a:ext cx="1482725" cy="607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6454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BS Front Cover 3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618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82AED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Rounded Rectangle 18"/>
          <p:cNvSpPr/>
          <p:nvPr userDrawn="1"/>
        </p:nvSpPr>
        <p:spPr bwMode="auto">
          <a:xfrm>
            <a:off x="496598" y="3632201"/>
            <a:ext cx="7885404" cy="2872590"/>
          </a:xfrm>
          <a:prstGeom prst="roundRect">
            <a:avLst>
              <a:gd name="adj" fmla="val 2370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/>
          </a:p>
        </p:txBody>
      </p:sp>
      <p:sp>
        <p:nvSpPr>
          <p:cNvPr id="20" name="Title 1"/>
          <p:cNvSpPr>
            <a:spLocks noGrp="1"/>
          </p:cNvSpPr>
          <p:nvPr>
            <p:ph type="ctrTitle" idx="4294967295"/>
          </p:nvPr>
        </p:nvSpPr>
        <p:spPr>
          <a:xfrm>
            <a:off x="850198" y="4086333"/>
            <a:ext cx="6600473" cy="1194230"/>
          </a:xfrm>
        </p:spPr>
        <p:txBody>
          <a:bodyPr lIns="0" tIns="0" rIns="0" bIns="0" anchor="t">
            <a:noAutofit/>
          </a:bodyPr>
          <a:lstStyle/>
          <a:p>
            <a:pPr algn="l">
              <a:lnSpc>
                <a:spcPct val="80000"/>
              </a:lnSpc>
              <a:defRPr/>
            </a:pPr>
            <a: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  <a:t>PowerPoint template</a:t>
            </a:r>
            <a:b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</a:br>
            <a: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  <a:t>for internal us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4294967295"/>
          </p:nvPr>
        </p:nvSpPr>
        <p:spPr>
          <a:xfrm>
            <a:off x="867131" y="5280563"/>
            <a:ext cx="6583540" cy="726264"/>
          </a:xfrm>
        </p:spPr>
        <p:txBody>
          <a:bodyPr lIns="0" tIns="0" rIns="0" bIns="0" anchor="t" anchorCtr="0">
            <a:normAutofit/>
          </a:bodyPr>
          <a:lstStyle/>
          <a:p>
            <a:pPr algn="l">
              <a:lnSpc>
                <a:spcPct val="80000"/>
              </a:lnSpc>
              <a:buFont typeface="Arial" panose="020B0604020202020204" pitchFamily="34" charset="0"/>
              <a:buNone/>
              <a:defRPr/>
            </a:pPr>
            <a:r>
              <a:rPr lang="en-GB" altLang="en-US" sz="1600" dirty="0">
                <a:solidFill>
                  <a:schemeClr val="tx1"/>
                </a:solidFill>
                <a:latin typeface="NBS Light"/>
                <a:ea typeface="ＭＳ Ｐゴシック" panose="020B0600070205080204" pitchFamily="34" charset="-128"/>
                <a:cs typeface="NBS Light"/>
              </a:rPr>
              <a:t>Notes for guidance on template use</a:t>
            </a:r>
          </a:p>
        </p:txBody>
      </p:sp>
      <p:pic>
        <p:nvPicPr>
          <p:cNvPr id="9" name="Picture 8" descr="Nationwide BS Logo sRGB.pn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8" t="18020" r="9268" b="14259"/>
          <a:stretch/>
        </p:blipFill>
        <p:spPr>
          <a:xfrm>
            <a:off x="977460" y="3335388"/>
            <a:ext cx="1482725" cy="607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1092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BS Front Cover Print friend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642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 userDrawn="1"/>
        </p:nvSpPr>
        <p:spPr bwMode="auto">
          <a:xfrm>
            <a:off x="496598" y="3632201"/>
            <a:ext cx="7885404" cy="2872590"/>
          </a:xfrm>
          <a:prstGeom prst="roundRect">
            <a:avLst>
              <a:gd name="adj" fmla="val 2370"/>
            </a:avLst>
          </a:prstGeom>
          <a:solidFill>
            <a:srgbClr val="FFFFFF"/>
          </a:solidFill>
          <a:ln w="9525" cmpd="sng">
            <a:solidFill>
              <a:srgbClr val="004A8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/>
          </a:p>
        </p:txBody>
      </p:sp>
      <p:sp>
        <p:nvSpPr>
          <p:cNvPr id="11" name="Title 1"/>
          <p:cNvSpPr>
            <a:spLocks noGrp="1"/>
          </p:cNvSpPr>
          <p:nvPr>
            <p:ph type="ctrTitle" idx="4294967295"/>
          </p:nvPr>
        </p:nvSpPr>
        <p:spPr>
          <a:xfrm>
            <a:off x="850198" y="4086333"/>
            <a:ext cx="6600473" cy="1194230"/>
          </a:xfrm>
        </p:spPr>
        <p:txBody>
          <a:bodyPr lIns="0" tIns="0" rIns="0" bIns="0" anchor="t">
            <a:noAutofit/>
          </a:bodyPr>
          <a:lstStyle/>
          <a:p>
            <a:pPr algn="l">
              <a:lnSpc>
                <a:spcPct val="80000"/>
              </a:lnSpc>
              <a:defRPr/>
            </a:pPr>
            <a: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  <a:t>PowerPoint template</a:t>
            </a:r>
            <a:b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</a:br>
            <a:r>
              <a:rPr lang="en-GB" altLang="en-US" sz="4000" b="1" dirty="0">
                <a:latin typeface="NBS Medium"/>
                <a:ea typeface="ＭＳ Ｐゴシック" panose="020B0600070205080204" pitchFamily="34" charset="-128"/>
                <a:cs typeface="NBS Medium"/>
              </a:rPr>
              <a:t>for internal us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4294967295"/>
          </p:nvPr>
        </p:nvSpPr>
        <p:spPr>
          <a:xfrm>
            <a:off x="867131" y="5280563"/>
            <a:ext cx="6583540" cy="726264"/>
          </a:xfrm>
        </p:spPr>
        <p:txBody>
          <a:bodyPr lIns="0" tIns="0" rIns="0" bIns="0" anchor="t" anchorCtr="0">
            <a:normAutofit/>
          </a:bodyPr>
          <a:lstStyle/>
          <a:p>
            <a:pPr algn="l">
              <a:lnSpc>
                <a:spcPct val="80000"/>
              </a:lnSpc>
              <a:buFont typeface="Arial" panose="020B0604020202020204" pitchFamily="34" charset="0"/>
              <a:buNone/>
              <a:defRPr/>
            </a:pPr>
            <a:r>
              <a:rPr lang="en-GB" altLang="en-US" sz="1600" dirty="0">
                <a:solidFill>
                  <a:schemeClr val="tx1"/>
                </a:solidFill>
                <a:latin typeface="NBS Light"/>
                <a:ea typeface="ＭＳ Ｐゴシック" panose="020B0600070205080204" pitchFamily="34" charset="-128"/>
                <a:cs typeface="NBS Light"/>
              </a:rPr>
              <a:t>Notes for guidance on template use</a:t>
            </a:r>
          </a:p>
        </p:txBody>
      </p:sp>
      <p:pic>
        <p:nvPicPr>
          <p:cNvPr id="8" name="Picture 7" descr="Nationwide BS Logo sRGB.pn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8" t="18020" r="9268" b="14259"/>
          <a:stretch/>
        </p:blipFill>
        <p:spPr>
          <a:xfrm>
            <a:off x="977460" y="3335388"/>
            <a:ext cx="1482725" cy="607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9437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 userDrawn="1"/>
        </p:nvSpPr>
        <p:spPr>
          <a:xfrm>
            <a:off x="474136" y="440267"/>
            <a:ext cx="11235265" cy="5884333"/>
          </a:xfrm>
          <a:prstGeom prst="roundRect">
            <a:avLst>
              <a:gd name="adj" fmla="val 1117"/>
            </a:avLst>
          </a:prstGeom>
          <a:noFill/>
          <a:ln w="31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n>
                <a:solidFill>
                  <a:schemeClr val="tx1"/>
                </a:solidFill>
              </a:ln>
            </a:endParaRPr>
          </a:p>
        </p:txBody>
      </p:sp>
      <p:pic>
        <p:nvPicPr>
          <p:cNvPr id="10" name="Picture 9" descr="Nationwide BS Logo sRGB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9" t="18961" r="9306" b="13632"/>
          <a:stretch/>
        </p:blipFill>
        <p:spPr>
          <a:xfrm>
            <a:off x="9192344" y="5948187"/>
            <a:ext cx="1938867" cy="794012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711906" y="650172"/>
            <a:ext cx="10746316" cy="625475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>
            <a:lvl1pPr>
              <a:defRPr sz="3733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711906" y="1584679"/>
            <a:ext cx="10746316" cy="42290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90000"/>
              </a:lnSpc>
              <a:spcBef>
                <a:spcPts val="800"/>
              </a:spcBef>
              <a:defRPr sz="3200"/>
            </a:lvl1pPr>
            <a:lvl2pPr>
              <a:defRPr sz="2800"/>
            </a:lvl2pPr>
            <a:lvl3pPr>
              <a:defRPr sz="2667"/>
            </a:lvl3pPr>
            <a:lvl4pPr>
              <a:defRPr sz="2400"/>
            </a:lvl4pPr>
            <a:lvl5pPr>
              <a:defRPr sz="2133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36B126-544D-437F-A1AD-3DBA253D0F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31/05/2018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540BD3-A7C0-4AAC-972C-6698E1DFA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282681-4B92-4D2C-95CF-5D21697A45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A57C3-3BED-E04C-8CED-F9EC9F6E08F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98993E9-9D26-4123-A9CA-957335ACC802}"/>
              </a:ext>
            </a:extLst>
          </p:cNvPr>
          <p:cNvSpPr txBox="1"/>
          <p:nvPr userDrawn="1"/>
        </p:nvSpPr>
        <p:spPr>
          <a:xfrm rot="16200000" flipH="1">
            <a:off x="10809407" y="5146990"/>
            <a:ext cx="2083433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l"/>
            <a:r>
              <a:rPr lang="en-GB" sz="1100" dirty="0">
                <a:solidFill>
                  <a:schemeClr val="bg2">
                    <a:lumMod val="20000"/>
                    <a:lumOff val="80000"/>
                  </a:schemeClr>
                </a:solidFill>
              </a:rPr>
              <a:t>Keep It Simple &amp; Stupid</a:t>
            </a:r>
          </a:p>
        </p:txBody>
      </p:sp>
    </p:spTree>
    <p:extLst>
      <p:ext uri="{BB962C8B-B14F-4D97-AF65-F5344CB8AC3E}">
        <p14:creationId xmlns:p14="http://schemas.microsoft.com/office/powerpoint/2010/main" val="9971748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 userDrawn="1"/>
        </p:nvSpPr>
        <p:spPr>
          <a:xfrm>
            <a:off x="474136" y="440267"/>
            <a:ext cx="11235265" cy="5884333"/>
          </a:xfrm>
          <a:prstGeom prst="roundRect">
            <a:avLst>
              <a:gd name="adj" fmla="val 1117"/>
            </a:avLst>
          </a:prstGeom>
          <a:noFill/>
          <a:ln w="31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n>
                <a:solidFill>
                  <a:schemeClr val="tx1"/>
                </a:solidFill>
              </a:ln>
            </a:endParaRPr>
          </a:p>
        </p:txBody>
      </p:sp>
      <p:pic>
        <p:nvPicPr>
          <p:cNvPr id="10" name="Picture 9" descr="Nationwide BS Logo sRGB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9" t="18961" r="9306" b="13632"/>
          <a:stretch/>
        </p:blipFill>
        <p:spPr>
          <a:xfrm>
            <a:off x="9192344" y="5948187"/>
            <a:ext cx="1938867" cy="794012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711906" y="650172"/>
            <a:ext cx="10746316" cy="625475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>
            <a:lvl1pPr>
              <a:defRPr sz="3733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711906" y="1584679"/>
            <a:ext cx="5312086" cy="42290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90000"/>
              </a:lnSpc>
              <a:spcBef>
                <a:spcPts val="800"/>
              </a:spcBef>
              <a:defRPr sz="3200"/>
            </a:lvl1pPr>
            <a:lvl2pPr>
              <a:defRPr sz="2800"/>
            </a:lvl2pPr>
            <a:lvl3pPr>
              <a:defRPr sz="2667"/>
            </a:lvl3pPr>
            <a:lvl4pPr>
              <a:defRPr sz="2400"/>
            </a:lvl4pPr>
            <a:lvl5pPr>
              <a:defRPr sz="2133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36B126-544D-437F-A1AD-3DBA253D0F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31/05/2018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540BD3-A7C0-4AAC-972C-6698E1DFA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282681-4B92-4D2C-95CF-5D21697A45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A57C3-3BED-E04C-8CED-F9EC9F6E08F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8A35D8B-C317-4586-91BE-799F7B54148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46136" y="1584679"/>
            <a:ext cx="5312086" cy="42290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90000"/>
              </a:lnSpc>
              <a:spcBef>
                <a:spcPts val="800"/>
              </a:spcBef>
              <a:defRPr sz="3200"/>
            </a:lvl1pPr>
            <a:lvl2pPr>
              <a:defRPr sz="2800"/>
            </a:lvl2pPr>
            <a:lvl3pPr>
              <a:defRPr sz="2667"/>
            </a:lvl3pPr>
            <a:lvl4pPr>
              <a:defRPr sz="2400"/>
            </a:lvl4pPr>
            <a:lvl5pPr>
              <a:defRPr sz="2133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1C4CA8-24D2-4B79-8107-DA89373BDDEB}"/>
              </a:ext>
            </a:extLst>
          </p:cNvPr>
          <p:cNvSpPr txBox="1"/>
          <p:nvPr userDrawn="1"/>
        </p:nvSpPr>
        <p:spPr>
          <a:xfrm rot="16200000" flipH="1">
            <a:off x="10809407" y="5146990"/>
            <a:ext cx="2083433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l"/>
            <a:r>
              <a:rPr lang="en-GB" sz="1100" dirty="0">
                <a:solidFill>
                  <a:schemeClr val="bg2">
                    <a:lumMod val="20000"/>
                    <a:lumOff val="80000"/>
                  </a:schemeClr>
                </a:solidFill>
              </a:rPr>
              <a:t>Keep It Simple &amp; Stupid</a:t>
            </a:r>
          </a:p>
        </p:txBody>
      </p:sp>
    </p:spTree>
    <p:extLst>
      <p:ext uri="{BB962C8B-B14F-4D97-AF65-F5344CB8AC3E}">
        <p14:creationId xmlns:p14="http://schemas.microsoft.com/office/powerpoint/2010/main" val="5234737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553" name="think-cell Slide" r:id="rId10" imgW="475" imgH="476" progId="TCLayout.ActiveDocument.1">
                  <p:embed/>
                </p:oleObj>
              </mc:Choice>
              <mc:Fallback>
                <p:oleObj name="think-cell Slide" r:id="rId10" imgW="475" imgH="47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14212" y="4063474"/>
            <a:ext cx="6637867" cy="128587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5379" y="5249866"/>
            <a:ext cx="6660444" cy="7278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/>
              <a:t>31/05/201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6A57C3-3BED-E04C-8CED-F9EC9F6E08F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092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95" r:id="rId5"/>
    <p:sldLayoutId id="2147483696" r:id="rId6"/>
  </p:sldLayoutIdLst>
  <p:hf sldNum="0" hdr="0" ftr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buNone/>
        <a:defRPr sz="4000" b="1" kern="1200">
          <a:solidFill>
            <a:schemeClr val="tx1"/>
          </a:solidFill>
          <a:latin typeface="NBS Medium"/>
          <a:ea typeface="+mj-ea"/>
          <a:cs typeface="NBS Medium"/>
        </a:defRPr>
      </a:lvl1pPr>
    </p:titleStyle>
    <p:bodyStyle>
      <a:lvl1pPr marL="0" indent="0" algn="l" defTabSz="457200" rtl="0" eaLnBrk="1" latinLnBrk="0" hangingPunct="1">
        <a:lnSpc>
          <a:spcPct val="80000"/>
        </a:lnSpc>
        <a:spcBef>
          <a:spcPct val="20000"/>
        </a:spcBef>
        <a:buFont typeface="Arial"/>
        <a:buNone/>
        <a:defRPr sz="1600" b="0" i="0" kern="1200">
          <a:solidFill>
            <a:schemeClr val="tx1"/>
          </a:solidFill>
          <a:latin typeface="NBS Light"/>
          <a:ea typeface="+mn-ea"/>
          <a:cs typeface="NBS Light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NBS Light"/>
          <a:ea typeface="+mn-ea"/>
          <a:cs typeface="NBS Light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34776F-E200-47CE-BFD5-139D48CED0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Versioning Strategy for RES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13F5A88-F36D-4681-89A6-157B48B5E11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Start debate about versioning for REST</a:t>
            </a:r>
          </a:p>
          <a:p>
            <a:endParaRPr lang="en-GB" dirty="0"/>
          </a:p>
          <a:p>
            <a:r>
              <a:rPr lang="en-GB" dirty="0"/>
              <a:t>Haroldo Macêdo</a:t>
            </a:r>
          </a:p>
        </p:txBody>
      </p:sp>
    </p:spTree>
    <p:extLst>
      <p:ext uri="{BB962C8B-B14F-4D97-AF65-F5344CB8AC3E}">
        <p14:creationId xmlns:p14="http://schemas.microsoft.com/office/powerpoint/2010/main" val="3768486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85ED0-E1EC-443A-AA6C-1085165BF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Proposal 1 – New Major Version Op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FB0C98-2ECF-4A48-917B-ACD86F3904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906" y="1584679"/>
            <a:ext cx="10746316" cy="4229099"/>
          </a:xfrm>
        </p:spPr>
        <p:txBody>
          <a:bodyPr>
            <a:normAutofit fontScale="92500" lnSpcReduction="2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GB" dirty="0"/>
              <a:t>New Interface</a:t>
            </a:r>
          </a:p>
          <a:p>
            <a:pPr marL="1257300" lvl="1" indent="-514350"/>
            <a:r>
              <a:rPr lang="en-GB" dirty="0"/>
              <a:t>Any changes on the interface</a:t>
            </a:r>
          </a:p>
          <a:p>
            <a:pPr marL="1657350" lvl="2" indent="-514350"/>
            <a:r>
              <a:rPr lang="en-GB" dirty="0"/>
              <a:t>Even if it is backward compatible</a:t>
            </a:r>
          </a:p>
          <a:p>
            <a:pPr marL="1257300" lvl="1" indent="-514350"/>
            <a:endParaRPr lang="en-GB" dirty="0"/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Backward incompatible</a:t>
            </a:r>
          </a:p>
          <a:p>
            <a:pPr marL="1257300" lvl="1" indent="-514350"/>
            <a:r>
              <a:rPr lang="en-GB" dirty="0"/>
              <a:t>When the new interface is not backward compatible</a:t>
            </a:r>
          </a:p>
          <a:p>
            <a:pPr marL="1657350" lvl="2" indent="-514350"/>
            <a:r>
              <a:rPr lang="en-GB" dirty="0"/>
              <a:t>Changes that don’t break the call</a:t>
            </a:r>
          </a:p>
          <a:p>
            <a:pPr marL="2114550" lvl="3" indent="-514350"/>
            <a:r>
              <a:rPr lang="en-GB" dirty="0"/>
              <a:t>New method</a:t>
            </a:r>
          </a:p>
          <a:p>
            <a:pPr marL="2114550" lvl="3" indent="-514350"/>
            <a:r>
              <a:rPr lang="en-GB" dirty="0"/>
              <a:t>New optional property on request</a:t>
            </a:r>
          </a:p>
          <a:p>
            <a:pPr marL="2114550" lvl="3" indent="-514350"/>
            <a:r>
              <a:rPr lang="en-GB" dirty="0"/>
              <a:t>New filter attribute</a:t>
            </a:r>
          </a:p>
          <a:p>
            <a:pPr marL="2114550" lvl="3" indent="-514350"/>
            <a:r>
              <a:rPr lang="en-GB" dirty="0"/>
              <a:t>New enum value</a:t>
            </a:r>
          </a:p>
          <a:p>
            <a:pPr marL="1257300" lvl="1" indent="-514350"/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88C84C-29C2-4376-B394-049C02A8B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31/05/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5353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1124B4-77C7-4885-8219-F35CB50163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posal 1 – Comparison Table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559816D3-BC0C-48B6-B255-4E11AC4D5F8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85112389"/>
              </p:ext>
            </p:extLst>
          </p:nvPr>
        </p:nvGraphicFramePr>
        <p:xfrm>
          <a:off x="910827" y="1988840"/>
          <a:ext cx="9073008" cy="13817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952925">
                  <a:extLst>
                    <a:ext uri="{9D8B030D-6E8A-4147-A177-3AD203B41FA5}">
                      <a16:colId xmlns:a16="http://schemas.microsoft.com/office/drawing/2014/main" val="1235700868"/>
                    </a:ext>
                  </a:extLst>
                </a:gridCol>
                <a:gridCol w="1007515">
                  <a:extLst>
                    <a:ext uri="{9D8B030D-6E8A-4147-A177-3AD203B41FA5}">
                      <a16:colId xmlns:a16="http://schemas.microsoft.com/office/drawing/2014/main" val="2055993427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9811069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3328340030"/>
                    </a:ext>
                  </a:extLst>
                </a:gridCol>
                <a:gridCol w="1291676">
                  <a:extLst>
                    <a:ext uri="{9D8B030D-6E8A-4147-A177-3AD203B41FA5}">
                      <a16:colId xmlns:a16="http://schemas.microsoft.com/office/drawing/2014/main" val="1549592841"/>
                    </a:ext>
                  </a:extLst>
                </a:gridCol>
                <a:gridCol w="1228604">
                  <a:extLst>
                    <a:ext uri="{9D8B030D-6E8A-4147-A177-3AD203B41FA5}">
                      <a16:colId xmlns:a16="http://schemas.microsoft.com/office/drawing/2014/main" val="8426465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O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KI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Major</a:t>
                      </a:r>
                    </a:p>
                    <a:p>
                      <a:pPr algn="ctr"/>
                      <a:r>
                        <a:rPr lang="en-GB" dirty="0"/>
                        <a:t>Vers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omplexity on Us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Security Concer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Govern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2610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b="1" dirty="0"/>
                        <a:t>1) New Interfa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M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M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45327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b="1" dirty="0"/>
                        <a:t>2) Backward Incompati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M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M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Mo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6814940"/>
                  </a:ext>
                </a:extLst>
              </a:tr>
            </a:tbl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D23EB3-603F-47D9-8818-8A5A556BDC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31/05/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7311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32691D-0B1E-4B09-9A17-A11C75021D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Allow the inclusion of properties not described in the Swagger fil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Default: tru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Allow backward compatibility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Inclusion of properties doesn’t </a:t>
            </a:r>
            <a:br>
              <a:rPr lang="en-GB" dirty="0"/>
            </a:br>
            <a:r>
              <a:rPr lang="en-GB" dirty="0"/>
              <a:t>break the client</a:t>
            </a:r>
          </a:p>
          <a:p>
            <a:pPr marL="2057400" lvl="3" indent="-457200">
              <a:buFont typeface="Arial" panose="020B0604020202020204" pitchFamily="34" charset="0"/>
              <a:buChar char="•"/>
            </a:pPr>
            <a:endParaRPr lang="en-GB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i="1" dirty="0"/>
              <a:t>additionalProperties</a:t>
            </a:r>
            <a:r>
              <a:rPr lang="en-GB" dirty="0"/>
              <a:t> other values</a:t>
            </a:r>
            <a:endParaRPr lang="en-GB" i="1" dirty="0"/>
          </a:p>
          <a:p>
            <a:pPr marL="1200150" lvl="1" indent="-45720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E74A75C-491E-4A7E-9694-434B1FC83D3B}"/>
              </a:ext>
            </a:extLst>
          </p:cNvPr>
          <p:cNvSpPr/>
          <p:nvPr/>
        </p:nvSpPr>
        <p:spPr>
          <a:xfrm>
            <a:off x="6754314" y="2310133"/>
            <a:ext cx="4886302" cy="1736706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000" dirty="0">
                <a:solidFill>
                  <a:schemeClr val="bg2">
                    <a:lumMod val="40000"/>
                    <a:lumOff val="6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  <a:r>
              <a:rPr lang="en-GB" sz="2000" dirty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ype:</a:t>
            </a:r>
            <a:r>
              <a:rPr lang="en-GB" sz="2000" dirty="0">
                <a:solidFill>
                  <a:schemeClr val="bg2">
                    <a:lumMod val="40000"/>
                    <a:lumOff val="6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GB" sz="2000" dirty="0">
                <a:solidFill>
                  <a:schemeClr val="bg1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object</a:t>
            </a:r>
          </a:p>
          <a:p>
            <a:r>
              <a:rPr lang="en-GB" sz="2000" dirty="0">
                <a:solidFill>
                  <a:schemeClr val="bg2">
                    <a:lumMod val="40000"/>
                    <a:lumOff val="6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  <a:r>
              <a:rPr lang="en-GB" sz="2000" dirty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operties:</a:t>
            </a:r>
          </a:p>
          <a:p>
            <a:r>
              <a:rPr lang="en-GB" sz="2000" dirty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		...</a:t>
            </a:r>
          </a:p>
          <a:p>
            <a:r>
              <a:rPr lang="en-GB" sz="2000" dirty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		additionalProperties: </a:t>
            </a:r>
            <a:r>
              <a:rPr lang="en-GB" sz="2000" dirty="0">
                <a:solidFill>
                  <a:schemeClr val="bg1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ue</a:t>
            </a:r>
          </a:p>
          <a:p>
            <a:endParaRPr lang="en-GB" sz="2000" dirty="0">
              <a:solidFill>
                <a:schemeClr val="bg2">
                  <a:lumMod val="40000"/>
                  <a:lumOff val="60000"/>
                </a:schemeClr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C7204C-0096-42B9-8C1E-57A356D52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posal 2 – </a:t>
            </a:r>
            <a:r>
              <a:rPr lang="en-GB" i="1" dirty="0"/>
              <a:t>additionalProperties</a:t>
            </a:r>
            <a:r>
              <a:rPr lang="en-GB" dirty="0"/>
              <a:t> Propert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C49994-4474-4050-9E33-2B1F8C91A7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31/05/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79964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85ED0-E1EC-443A-AA6C-1085165BF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Proposal 2 – New Major Version Op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FB0C98-2ECF-4A48-917B-ACD86F3904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Font typeface="+mj-lt"/>
              <a:buAutoNum type="alphaUcPeriod"/>
            </a:pPr>
            <a:r>
              <a:rPr lang="en-GB" dirty="0"/>
              <a:t> </a:t>
            </a:r>
            <a:r>
              <a:rPr lang="en-GB" i="1" dirty="0"/>
              <a:t>additionalProperties: </a:t>
            </a:r>
            <a:r>
              <a:rPr lang="en-GB" b="1" i="1" dirty="0"/>
              <a:t>true</a:t>
            </a:r>
            <a:endParaRPr lang="en-GB" b="1" dirty="0"/>
          </a:p>
          <a:p>
            <a:pPr marL="1257300" lvl="1" indent="-514350"/>
            <a:r>
              <a:rPr lang="en-GB" dirty="0"/>
              <a:t>New properties can be included in objects</a:t>
            </a:r>
          </a:p>
          <a:p>
            <a:pPr marL="514350" indent="-514350">
              <a:buFont typeface="+mj-lt"/>
              <a:buAutoNum type="alphaUcPeriod"/>
            </a:pPr>
            <a:r>
              <a:rPr lang="en-GB" dirty="0"/>
              <a:t> </a:t>
            </a:r>
            <a:r>
              <a:rPr lang="en-GB" i="1" dirty="0"/>
              <a:t>additionalProperties: </a:t>
            </a:r>
            <a:r>
              <a:rPr lang="en-GB" b="1" i="1" dirty="0"/>
              <a:t>false</a:t>
            </a:r>
            <a:endParaRPr lang="en-GB" b="1" dirty="0"/>
          </a:p>
          <a:p>
            <a:pPr marL="1257300" lvl="1" indent="-514350"/>
            <a:r>
              <a:rPr lang="en-GB" dirty="0"/>
              <a:t>No new properties can be included in objects</a:t>
            </a:r>
          </a:p>
          <a:p>
            <a:pPr marL="514350" indent="-514350">
              <a:buFont typeface="+mj-lt"/>
              <a:buAutoNum type="alphaUcPeriod"/>
            </a:pPr>
            <a:r>
              <a:rPr lang="en-GB" dirty="0"/>
              <a:t> </a:t>
            </a:r>
            <a:r>
              <a:rPr lang="en-GB" i="1" dirty="0"/>
              <a:t>additionalProperties: </a:t>
            </a:r>
            <a:r>
              <a:rPr lang="en-GB" b="1" i="1" dirty="0"/>
              <a:t>&lt;other&gt;</a:t>
            </a:r>
            <a:endParaRPr lang="en-GB" b="1" dirty="0"/>
          </a:p>
          <a:p>
            <a:pPr marL="1257300" lvl="1" indent="-514350"/>
            <a:r>
              <a:rPr lang="en-GB" dirty="0"/>
              <a:t>Restrict what additional properties</a:t>
            </a:r>
            <a:br>
              <a:rPr lang="en-GB" dirty="0"/>
            </a:br>
            <a:r>
              <a:rPr lang="en-GB" dirty="0"/>
              <a:t>can be created</a:t>
            </a:r>
          </a:p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88C84C-29C2-4376-B394-049C02A8B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31/05/2018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3A99B72-2BAD-4CA5-BF19-9520F5923C66}"/>
              </a:ext>
            </a:extLst>
          </p:cNvPr>
          <p:cNvSpPr/>
          <p:nvPr/>
        </p:nvSpPr>
        <p:spPr>
          <a:xfrm>
            <a:off x="6754314" y="4077072"/>
            <a:ext cx="4886302" cy="1736706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000" dirty="0">
                <a:solidFill>
                  <a:schemeClr val="bg2">
                    <a:lumMod val="40000"/>
                    <a:lumOff val="6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  <a:r>
              <a:rPr lang="en-GB" sz="2000" dirty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ype: </a:t>
            </a:r>
            <a:r>
              <a:rPr lang="en-GB" sz="2000" dirty="0">
                <a:solidFill>
                  <a:schemeClr val="bg1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object</a:t>
            </a:r>
          </a:p>
          <a:p>
            <a:r>
              <a:rPr lang="en-GB" sz="2000" dirty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	properties:</a:t>
            </a:r>
          </a:p>
          <a:p>
            <a:r>
              <a:rPr lang="en-GB" sz="2000" dirty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		...</a:t>
            </a:r>
          </a:p>
          <a:p>
            <a:r>
              <a:rPr lang="en-GB" sz="2000" dirty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		additionalProperties:</a:t>
            </a:r>
          </a:p>
          <a:p>
            <a:pPr lvl="1" indent="0">
              <a:buNone/>
            </a:pPr>
            <a:r>
              <a:rPr lang="en-GB" sz="2000" dirty="0">
                <a:solidFill>
                  <a:schemeClr val="accent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		type:</a:t>
            </a:r>
            <a:r>
              <a:rPr lang="en-GB" sz="2000" dirty="0">
                <a:solidFill>
                  <a:schemeClr val="bg2">
                    <a:lumMod val="40000"/>
                    <a:lumOff val="60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GB" sz="2000" dirty="0">
                <a:solidFill>
                  <a:schemeClr val="bg1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tring</a:t>
            </a:r>
          </a:p>
        </p:txBody>
      </p:sp>
    </p:spTree>
    <p:extLst>
      <p:ext uri="{BB962C8B-B14F-4D97-AF65-F5344CB8AC3E}">
        <p14:creationId xmlns:p14="http://schemas.microsoft.com/office/powerpoint/2010/main" val="39845712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1124B4-77C7-4885-8219-F35CB50163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parison Table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559816D3-BC0C-48B6-B255-4E11AC4D5F8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68449230"/>
              </p:ext>
            </p:extLst>
          </p:nvPr>
        </p:nvGraphicFramePr>
        <p:xfrm>
          <a:off x="994882" y="2014245"/>
          <a:ext cx="9493606" cy="17526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294399">
                  <a:extLst>
                    <a:ext uri="{9D8B030D-6E8A-4147-A177-3AD203B41FA5}">
                      <a16:colId xmlns:a16="http://schemas.microsoft.com/office/drawing/2014/main" val="1235700868"/>
                    </a:ext>
                  </a:extLst>
                </a:gridCol>
                <a:gridCol w="1171126">
                  <a:extLst>
                    <a:ext uri="{9D8B030D-6E8A-4147-A177-3AD203B41FA5}">
                      <a16:colId xmlns:a16="http://schemas.microsoft.com/office/drawing/2014/main" val="2055993427"/>
                    </a:ext>
                  </a:extLst>
                </a:gridCol>
                <a:gridCol w="1244322">
                  <a:extLst>
                    <a:ext uri="{9D8B030D-6E8A-4147-A177-3AD203B41FA5}">
                      <a16:colId xmlns:a16="http://schemas.microsoft.com/office/drawing/2014/main" val="298110691"/>
                    </a:ext>
                  </a:extLst>
                </a:gridCol>
                <a:gridCol w="1317517">
                  <a:extLst>
                    <a:ext uri="{9D8B030D-6E8A-4147-A177-3AD203B41FA5}">
                      <a16:colId xmlns:a16="http://schemas.microsoft.com/office/drawing/2014/main" val="3328340030"/>
                    </a:ext>
                  </a:extLst>
                </a:gridCol>
                <a:gridCol w="1244322">
                  <a:extLst>
                    <a:ext uri="{9D8B030D-6E8A-4147-A177-3AD203B41FA5}">
                      <a16:colId xmlns:a16="http://schemas.microsoft.com/office/drawing/2014/main" val="1549592841"/>
                    </a:ext>
                  </a:extLst>
                </a:gridCol>
                <a:gridCol w="1221920">
                  <a:extLst>
                    <a:ext uri="{9D8B030D-6E8A-4147-A177-3AD203B41FA5}">
                      <a16:colId xmlns:a16="http://schemas.microsoft.com/office/drawing/2014/main" val="8426465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O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KI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Major</a:t>
                      </a:r>
                    </a:p>
                    <a:p>
                      <a:pPr algn="ctr"/>
                      <a:r>
                        <a:rPr lang="en-GB" dirty="0"/>
                        <a:t>Vers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omplexity on Us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Security Concer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Govern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2610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b="1" dirty="0"/>
                        <a:t>A) </a:t>
                      </a:r>
                      <a:r>
                        <a:rPr lang="en-GB" sz="1800" b="1" i="1" dirty="0"/>
                        <a:t>additionalProperties</a:t>
                      </a:r>
                      <a:r>
                        <a:rPr lang="en-GB" sz="1800" b="1" dirty="0"/>
                        <a:t>: true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Mo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ea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ea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Mo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45327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b="1" dirty="0"/>
                        <a:t>B) </a:t>
                      </a:r>
                      <a:r>
                        <a:rPr lang="en-GB" sz="1800" b="1" i="1" dirty="0"/>
                        <a:t>additionalProperties</a:t>
                      </a:r>
                      <a:r>
                        <a:rPr lang="en-GB" sz="1800" b="1" dirty="0"/>
                        <a:t>: false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M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M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Mo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68149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b="1" dirty="0"/>
                        <a:t>C) </a:t>
                      </a:r>
                      <a:r>
                        <a:rPr lang="en-GB" sz="1800" b="1" i="1" dirty="0"/>
                        <a:t>additionalProperties</a:t>
                      </a:r>
                      <a:r>
                        <a:rPr lang="en-GB" b="1" i="1" dirty="0"/>
                        <a:t>: &lt;other&gt;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M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M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Mo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7857415"/>
                  </a:ext>
                </a:extLst>
              </a:tr>
            </a:tbl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D23EB3-603F-47D9-8818-8A5A556BDC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31/05/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3401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34776F-E200-47CE-BFD5-139D48CED0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Versioning Strategy for RES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13F5A88-F36D-4681-89A6-157B48B5E11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Haroldo Macêdo</a:t>
            </a:r>
          </a:p>
        </p:txBody>
      </p:sp>
    </p:spTree>
    <p:extLst>
      <p:ext uri="{BB962C8B-B14F-4D97-AF65-F5344CB8AC3E}">
        <p14:creationId xmlns:p14="http://schemas.microsoft.com/office/powerpoint/2010/main" val="4771668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53A8E0-3DC9-4D91-90BA-49D2A2750E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I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CA7E2A-00E5-4F1B-8F9A-83B1866115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800" b="1" dirty="0"/>
              <a:t> </a:t>
            </a:r>
            <a:r>
              <a:rPr lang="en-GB" sz="4800" b="1" dirty="0">
                <a:solidFill>
                  <a:srgbClr val="FF0000"/>
                </a:solidFill>
              </a:rPr>
              <a:t>K</a:t>
            </a:r>
            <a:r>
              <a:rPr lang="en-GB" sz="4800" dirty="0"/>
              <a:t>eep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800" b="1" dirty="0"/>
              <a:t> </a:t>
            </a:r>
            <a:r>
              <a:rPr lang="en-GB" sz="4800" b="1" dirty="0">
                <a:solidFill>
                  <a:srgbClr val="FF0000"/>
                </a:solidFill>
              </a:rPr>
              <a:t>I</a:t>
            </a:r>
            <a:r>
              <a:rPr lang="en-GB" sz="4800" dirty="0"/>
              <a:t>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800" b="1" dirty="0"/>
              <a:t> </a:t>
            </a:r>
            <a:r>
              <a:rPr lang="en-GB" sz="4800" b="1" dirty="0">
                <a:solidFill>
                  <a:srgbClr val="FF0000"/>
                </a:solidFill>
              </a:rPr>
              <a:t>S</a:t>
            </a:r>
            <a:r>
              <a:rPr lang="en-GB" sz="4800" dirty="0"/>
              <a:t>imple &amp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4800" b="1" dirty="0"/>
              <a:t> </a:t>
            </a:r>
            <a:r>
              <a:rPr lang="en-GB" sz="4800" b="1" dirty="0">
                <a:solidFill>
                  <a:srgbClr val="FF0000"/>
                </a:solidFill>
              </a:rPr>
              <a:t>S</a:t>
            </a:r>
            <a:r>
              <a:rPr lang="en-GB" sz="4800" dirty="0"/>
              <a:t>tupid</a:t>
            </a:r>
          </a:p>
          <a:p>
            <a:endParaRPr lang="en-GB" sz="48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D819851-5FF9-4AB3-8974-1531F8189C04}"/>
              </a:ext>
            </a:extLst>
          </p:cNvPr>
          <p:cNvSpPr txBox="1"/>
          <p:nvPr/>
        </p:nvSpPr>
        <p:spPr>
          <a:xfrm>
            <a:off x="6436185" y="4149080"/>
            <a:ext cx="5184576" cy="209288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i="1" dirty="0"/>
              <a:t>“That's been one of my mantras - focus and simplicity. Simple can be harder than complex: You have to work hard to get your thinking clean to make it simple. But it's worth it in the end because once you get there, you can move mountains.</a:t>
            </a:r>
            <a:r>
              <a:rPr lang="en-GB" sz="2000" i="1" dirty="0"/>
              <a:t>”</a:t>
            </a:r>
          </a:p>
          <a:p>
            <a:r>
              <a:rPr lang="en-GB" sz="20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Steve Jobs</a:t>
            </a:r>
            <a:endParaRPr lang="en-GB" sz="2000" i="1" dirty="0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07F82E4-D724-4E59-BA78-D5AF4555FE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31/05/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4676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762D30-3099-4360-8E59-49273A30E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day’s Policy is for SOA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F5F553-C647-4529-ABD5-253BE2AF8B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906" y="1584679"/>
            <a:ext cx="10746316" cy="4229099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Create a versioning strategy and policy for REST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SOAP versioning document only</a:t>
            </a:r>
          </a:p>
          <a:p>
            <a:pPr marL="1600200" lvl="2" indent="-457200">
              <a:buFont typeface="Arial" panose="020B0604020202020204" pitchFamily="34" charset="0"/>
              <a:buChar char="•"/>
            </a:pPr>
            <a:endParaRPr lang="en-GB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Need to define tools for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Registry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Source Control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Deploymen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0DE104-A1D2-44D1-9850-417874E692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31/05/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0185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36CEB6-2D9B-40F0-AD6D-322573C923D3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356350"/>
            <a:ext cx="2844800" cy="365125"/>
          </a:xfrm>
        </p:spPr>
        <p:txBody>
          <a:bodyPr/>
          <a:lstStyle/>
          <a:p>
            <a:r>
              <a:rPr lang="en-GB" dirty="0"/>
              <a:t>31/05/2018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217DE81-E8E3-46A7-AFAD-8CBAA845477D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/>
        <p:txBody>
          <a:bodyPr/>
          <a:lstStyle/>
          <a:p>
            <a:r>
              <a:rPr lang="en-GB" dirty="0"/>
              <a:t>Rapid analysis on REST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914E7BB9-E2E4-4CCA-ABEE-C952354FA7A3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/>
        <p:txBody>
          <a:bodyPr/>
          <a:lstStyle/>
          <a:p>
            <a:r>
              <a:rPr lang="en-GB" dirty="0"/>
              <a:t>What is important for versioning</a:t>
            </a:r>
          </a:p>
        </p:txBody>
      </p:sp>
    </p:spTree>
    <p:extLst>
      <p:ext uri="{BB962C8B-B14F-4D97-AF65-F5344CB8AC3E}">
        <p14:creationId xmlns:p14="http://schemas.microsoft.com/office/powerpoint/2010/main" val="442101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2EA4471-FA33-4033-9636-456DF5C311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66125" y="1245667"/>
            <a:ext cx="5002483" cy="43413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9ED001A-662F-4B0A-B8CD-FD8103447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T Properties for Versioning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76E7CE1-8C6A-4D08-9E59-2F0D51C233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 b="1" dirty="0"/>
              <a:t>New Major Vers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basePath (any change)</a:t>
            </a:r>
          </a:p>
          <a:p>
            <a:endParaRPr lang="en-GB" dirty="0"/>
          </a:p>
          <a:p>
            <a:r>
              <a:rPr lang="en-GB" b="1" dirty="0"/>
              <a:t>May Vers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path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Other properties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Paths methods	(POST, GET etc.)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parameters		(</a:t>
            </a:r>
            <a:r>
              <a:rPr lang="en-GB" i="1" dirty="0"/>
              <a:t>paths</a:t>
            </a:r>
            <a:r>
              <a:rPr lang="en-GB" dirty="0"/>
              <a:t> property)</a:t>
            </a:r>
          </a:p>
          <a:p>
            <a:pPr marL="1200150" lvl="1" indent="-457200">
              <a:buFont typeface="Arial" panose="020B0604020202020204" pitchFamily="34" charset="0"/>
              <a:buChar char="•"/>
            </a:pPr>
            <a:r>
              <a:rPr lang="en-GB" dirty="0"/>
              <a:t>responses		(</a:t>
            </a:r>
            <a:r>
              <a:rPr lang="en-GB" i="1" dirty="0"/>
              <a:t>paths</a:t>
            </a:r>
            <a:r>
              <a:rPr lang="en-GB" dirty="0"/>
              <a:t> property)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0B3A3F1-8758-4323-8CED-57048B980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31/05/2018</a:t>
            </a:r>
            <a:endParaRPr lang="en-US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7D75C94-3102-4313-B541-3EDC2D8FE90A}"/>
              </a:ext>
            </a:extLst>
          </p:cNvPr>
          <p:cNvSpPr/>
          <p:nvPr/>
        </p:nvSpPr>
        <p:spPr>
          <a:xfrm>
            <a:off x="6528048" y="1568516"/>
            <a:ext cx="2016224" cy="200392"/>
          </a:xfrm>
          <a:prstGeom prst="roundRect">
            <a:avLst/>
          </a:prstGeom>
          <a:noFill/>
          <a:ln w="381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 dirty="0">
              <a:solidFill>
                <a:schemeClr val="accent6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5F5CC1F-7FDE-42FC-9C3A-0EBE81AE9A96}"/>
              </a:ext>
            </a:extLst>
          </p:cNvPr>
          <p:cNvCxnSpPr>
            <a:cxnSpLocks/>
            <a:stCxn id="6" idx="1"/>
          </p:cNvCxnSpPr>
          <p:nvPr/>
        </p:nvCxnSpPr>
        <p:spPr>
          <a:xfrm flipH="1">
            <a:off x="4295800" y="1668712"/>
            <a:ext cx="2232248" cy="100196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47490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B37A966-4996-4CA9-861F-637657EF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T Properties for Versioning – New Major Ver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1840-0916-4580-9F7B-902F67B930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GB" sz="3600" b="1" dirty="0">
                <a:solidFill>
                  <a:srgbClr val="FF0000"/>
                </a:solidFill>
              </a:rPr>
              <a:t>Not expected to chang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swagger				(2.0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schemes 				(https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parameters			(for the header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security				(JWT []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securityDefinitions	(JWT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host					(Not Used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consumes			(application/json; charset=utf-8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produces 			(application/json; charset=utf-8)</a:t>
            </a:r>
          </a:p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D57333-829D-4ABD-92C8-D05C4C5B4D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31/05/2018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1F3A3FA-D3E8-4621-8340-CD161459D7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0098" y="1484784"/>
            <a:ext cx="5135922" cy="280831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030264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5CBECE-4120-4C09-B866-CBB69E1955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compatible Chan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CF17B7-7C90-4686-A32B-4F89BD68A4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Removal of a method (</a:t>
            </a:r>
            <a:r>
              <a:rPr lang="en-GB" i="1" dirty="0"/>
              <a:t>POST</a:t>
            </a:r>
            <a:r>
              <a:rPr lang="en-GB" dirty="0"/>
              <a:t>, </a:t>
            </a:r>
            <a:r>
              <a:rPr lang="en-GB" i="1" dirty="0"/>
              <a:t>GET</a:t>
            </a:r>
            <a:r>
              <a:rPr lang="en-GB" dirty="0"/>
              <a:t> etc.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Inclusion, removal or change of a required </a:t>
            </a:r>
            <a:r>
              <a:rPr lang="en-GB" i="1" dirty="0"/>
              <a:t>paramet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Removal or rename of a any property of a </a:t>
            </a:r>
            <a:r>
              <a:rPr lang="en-GB" i="1" dirty="0"/>
              <a:t>request</a:t>
            </a:r>
            <a:r>
              <a:rPr lang="en-GB" dirty="0"/>
              <a:t> object</a:t>
            </a:r>
            <a:endParaRPr lang="en-GB" i="1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Inclusion of a required property of a </a:t>
            </a:r>
            <a:r>
              <a:rPr lang="en-GB" i="1" dirty="0"/>
              <a:t>request</a:t>
            </a:r>
            <a:r>
              <a:rPr lang="en-GB" dirty="0"/>
              <a:t> object</a:t>
            </a:r>
            <a:endParaRPr lang="en-GB" i="1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Inclusion of a new </a:t>
            </a:r>
            <a:r>
              <a:rPr lang="en-GB" i="1" dirty="0"/>
              <a:t>response</a:t>
            </a:r>
            <a:endParaRPr lang="en-GB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Incompatible changes on an object (optional or required)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70EF05-EFB6-4D35-894C-DFC6CCD7FB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31/05/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0978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DBBEFC8-3220-4A52-896F-886D431AB3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compatible Changes on an Objec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872B64-4431-47A4-9A41-2E38DA437C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906" y="2132856"/>
            <a:ext cx="5312086" cy="3680922"/>
          </a:xfrm>
        </p:spPr>
        <p:txBody>
          <a:bodyPr>
            <a:normAutofit fontScale="85000" lnSpcReduction="20000"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&lt;</a:t>
            </a:r>
            <a:r>
              <a:rPr lang="en-GB" i="1" dirty="0"/>
              <a:t>Property Name</a:t>
            </a:r>
            <a:r>
              <a:rPr lang="en-GB" dirty="0"/>
              <a:t>&gt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typ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forma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patter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enu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allowEmptyValu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collectionForma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multipleOf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allOf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5CE194-57C6-4BCF-BD7E-CD2DFFD954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31/05/2018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B933C7F-7DA9-4C31-B799-EE7174D9A64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46136" y="2132856"/>
            <a:ext cx="5312086" cy="3680922"/>
          </a:xfrm>
        </p:spPr>
        <p:txBody>
          <a:bodyPr>
            <a:normAutofit fontScale="85000" lnSpcReduction="20000"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uniqueItem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maximu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minimu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exclusiveMaximu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exclusiveMinimu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maxLength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minLength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maxItem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/>
              <a:t>minItem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3F8F8D-D37F-49AE-956D-15D47EBAD9FF}"/>
              </a:ext>
            </a:extLst>
          </p:cNvPr>
          <p:cNvSpPr txBox="1"/>
          <p:nvPr/>
        </p:nvSpPr>
        <p:spPr>
          <a:xfrm>
            <a:off x="711906" y="1414517"/>
            <a:ext cx="107463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dirty="0"/>
              <a:t>Change on the following properties of object</a:t>
            </a:r>
          </a:p>
        </p:txBody>
      </p:sp>
    </p:spTree>
    <p:extLst>
      <p:ext uri="{BB962C8B-B14F-4D97-AF65-F5344CB8AC3E}">
        <p14:creationId xmlns:p14="http://schemas.microsoft.com/office/powerpoint/2010/main" val="39127273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32A1CD-6193-449E-9B16-7E89ED10CA88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356350"/>
            <a:ext cx="2844800" cy="365125"/>
          </a:xfrm>
        </p:spPr>
        <p:txBody>
          <a:bodyPr/>
          <a:lstStyle/>
          <a:p>
            <a:r>
              <a:rPr lang="en-GB" dirty="0"/>
              <a:t>31/05/2018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399B47-2751-4B24-BB77-7E0DA16691AA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/>
        <p:txBody>
          <a:bodyPr/>
          <a:lstStyle/>
          <a:p>
            <a:r>
              <a:rPr lang="en-GB" dirty="0"/>
              <a:t>Proposals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DC0EBACB-3A5D-4D8A-9DC3-DD63C2491412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/>
        <p:txBody>
          <a:bodyPr/>
          <a:lstStyle/>
          <a:p>
            <a:r>
              <a:rPr lang="en-GB" dirty="0"/>
              <a:t>New major versions</a:t>
            </a:r>
          </a:p>
          <a:p>
            <a:r>
              <a:rPr lang="en-GB" i="1" dirty="0"/>
              <a:t>additionalProperties </a:t>
            </a:r>
            <a:r>
              <a:rPr lang="en-GB" dirty="0"/>
              <a:t>property</a:t>
            </a:r>
            <a:endParaRPr lang="en-GB" i="1" dirty="0"/>
          </a:p>
        </p:txBody>
      </p:sp>
    </p:spTree>
    <p:extLst>
      <p:ext uri="{BB962C8B-B14F-4D97-AF65-F5344CB8AC3E}">
        <p14:creationId xmlns:p14="http://schemas.microsoft.com/office/powerpoint/2010/main" val="36639571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Title page master">
  <a:themeElements>
    <a:clrScheme name="Nationwide Official Palette">
      <a:dk1>
        <a:srgbClr val="004A8F"/>
      </a:dk1>
      <a:lt1>
        <a:sysClr val="window" lastClr="FFFFFF"/>
      </a:lt1>
      <a:dk2>
        <a:srgbClr val="ED1C24"/>
      </a:dk2>
      <a:lt2>
        <a:srgbClr val="0077C8"/>
      </a:lt2>
      <a:accent1>
        <a:srgbClr val="E56A54"/>
      </a:accent1>
      <a:accent2>
        <a:srgbClr val="E0457B"/>
      </a:accent2>
      <a:accent3>
        <a:srgbClr val="FDDA24"/>
      </a:accent3>
      <a:accent4>
        <a:srgbClr val="582C83"/>
      </a:accent4>
      <a:accent5>
        <a:srgbClr val="84BD00"/>
      </a:accent5>
      <a:accent6>
        <a:srgbClr val="0000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noFill/>
        </a:ln>
        <a:effectLst/>
      </a:spPr>
      <a:bodyPr rtlCol="0" anchor="ctr"/>
      <a:lstStyle>
        <a:defPPr algn="ctr">
          <a:defRPr sz="1100" dirty="0" smtClean="0">
            <a:solidFill>
              <a:schemeClr val="accent6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CB1A00BB1048419CAE4DE5B0FBAFE3" ma:contentTypeVersion="0" ma:contentTypeDescription="Create a new document." ma:contentTypeScope="" ma:versionID="c5afc49ac28bb041ffa224c4ea535915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6E53C285-FA6C-4F73-B416-BCF9BBFD0ABB}">
  <ds:schemaRefs>
    <ds:schemaRef ds:uri="http://purl.org/dc/dcmitype/"/>
    <ds:schemaRef ds:uri="http://purl.org/dc/terms/"/>
    <ds:schemaRef ds:uri="http://purl.org/dc/elements/1.1/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F350036E-31BE-4D0D-A12F-13EEAEFE6ED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7115E9-A2F7-4DAE-ADA6-4156A26795C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1323</TotalTime>
  <Words>808</Words>
  <Application>Microsoft Office PowerPoint</Application>
  <PresentationFormat>Widescreen</PresentationFormat>
  <Paragraphs>211</Paragraphs>
  <Slides>15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NBS Medium</vt:lpstr>
      <vt:lpstr>Calibri</vt:lpstr>
      <vt:lpstr>NBS Light</vt:lpstr>
      <vt:lpstr>Consolas</vt:lpstr>
      <vt:lpstr>Arial</vt:lpstr>
      <vt:lpstr>MS PGothic</vt:lpstr>
      <vt:lpstr>2_Title page master</vt:lpstr>
      <vt:lpstr>think-cell Slide</vt:lpstr>
      <vt:lpstr>Versioning Strategy for REST</vt:lpstr>
      <vt:lpstr>KISS</vt:lpstr>
      <vt:lpstr>Today’s Policy is for SOAP</vt:lpstr>
      <vt:lpstr>Rapid analysis on REST</vt:lpstr>
      <vt:lpstr>REST Properties for Versioning</vt:lpstr>
      <vt:lpstr>REST Properties for Versioning – New Major Version</vt:lpstr>
      <vt:lpstr>Incompatible Changes</vt:lpstr>
      <vt:lpstr>Incompatible Changes on an Object</vt:lpstr>
      <vt:lpstr>Proposals</vt:lpstr>
      <vt:lpstr>Proposal 1 – New Major Version Options</vt:lpstr>
      <vt:lpstr>Proposal 1 – Comparison Table</vt:lpstr>
      <vt:lpstr>Proposal 2 – additionalProperties Property</vt:lpstr>
      <vt:lpstr>Proposal 2 – New Major Version Options</vt:lpstr>
      <vt:lpstr>Comparison Table</vt:lpstr>
      <vt:lpstr>Versioning Strategy for REST</vt:lpstr>
    </vt:vector>
  </TitlesOfParts>
  <Manager>Denis Lewis</Manager>
  <Company>Nationwi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rsioning Strategy for Rest</dc:title>
  <dc:creator>Haroldo Macêdo</dc:creator>
  <dc:description>Start the discussion version strategy.</dc:description>
  <cp:lastModifiedBy>Thomas Breheny</cp:lastModifiedBy>
  <cp:revision>1762</cp:revision>
  <cp:lastPrinted>2017-11-01T10:41:46Z</cp:lastPrinted>
  <dcterms:created xsi:type="dcterms:W3CDTF">2016-12-14T12:48:07Z</dcterms:created>
  <dcterms:modified xsi:type="dcterms:W3CDTF">2018-05-31T11:14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CB1A00BB1048419CAE4DE5B0FBAFE3</vt:lpwstr>
  </property>
</Properties>
</file>